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300" r:id="rId29"/>
    <p:sldId id="290" r:id="rId30"/>
    <p:sldId id="291" r:id="rId31"/>
    <p:sldId id="278" r:id="rId32"/>
    <p:sldId id="273" r:id="rId33"/>
    <p:sldId id="27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BE2D22-C10C-457D-82F3-1AE0124C2F97}" v="79" dt="2023-01-31T22:37:21.6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7" d="100"/>
          <a:sy n="117" d="100"/>
        </p:scale>
        <p:origin x="102" y="49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2-23T00:58:24.199" v="2592" actId="27918"/>
      <pc:docMkLst>
        <pc:docMk/>
      </pc:docMkLst>
      <pc:sldChg chg="modSp mod">
        <pc:chgData name="Roberto Gallardo" userId="49a044883f185952" providerId="LiveId" clId="{25BE2D22-C10C-457D-82F3-1AE0124C2F97}" dt="2023-01-31T22:37:05.420" v="2568" actId="20577"/>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31T22:37:05.420" v="2568" actId="20577"/>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2-23T00:58:24.199" v="2592" actId="2791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2-23T00:57:36.469" v="2578" actId="2791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2-23T00:58:02.658" v="2586" actId="2791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5:58:13.210" v="2330" actId="20577"/>
        <pc:sldMkLst>
          <pc:docMk/>
          <pc:sldMk cId="2076698419" sldId="273"/>
        </pc:sldMkLst>
        <pc:spChg chg="mod">
          <ac:chgData name="Roberto Gallardo" userId="49a044883f185952" providerId="LiveId" clId="{25BE2D22-C10C-457D-82F3-1AE0124C2F97}" dt="2023-01-14T15:58:13.210" v="2330" actId="20577"/>
          <ac:spMkLst>
            <pc:docMk/>
            <pc:sldMk cId="2076698419" sldId="273"/>
            <ac:spMk id="8" creationId="{40AF43CC-DD34-B66D-2100-C70E6AB3ED53}"/>
          </ac:spMkLst>
        </pc:spChg>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addSp delSp modSp mod">
        <pc:chgData name="Roberto Gallardo" userId="49a044883f185952" providerId="LiveId" clId="{25BE2D22-C10C-457D-82F3-1AE0124C2F97}" dt="2023-01-31T22:37:25.219" v="2572" actId="1036"/>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add del mod">
          <ac:chgData name="Roberto Gallardo" userId="49a044883f185952" providerId="LiveId" clId="{25BE2D22-C10C-457D-82F3-1AE0124C2F97}" dt="2023-01-15T16:07:18.741" v="2377" actId="478"/>
          <ac:spMkLst>
            <pc:docMk/>
            <pc:sldMk cId="513409896" sldId="276"/>
            <ac:spMk id="3" creationId="{EB30E8FE-B766-7F64-A2A7-1457BC4575C2}"/>
          </ac:spMkLst>
        </pc:spChg>
        <pc:spChg chg="add del mod">
          <ac:chgData name="Roberto Gallardo" userId="49a044883f185952" providerId="LiveId" clId="{25BE2D22-C10C-457D-82F3-1AE0124C2F97}" dt="2023-01-15T16:07:18.741" v="2377" actId="478"/>
          <ac:spMkLst>
            <pc:docMk/>
            <pc:sldMk cId="513409896" sldId="276"/>
            <ac:spMk id="5" creationId="{7C9FD3B1-D8CF-4F96-B091-F1052A1B816B}"/>
          </ac:spMkLst>
        </pc:spChg>
        <pc:spChg chg="add mod">
          <ac:chgData name="Roberto Gallardo" userId="49a044883f185952" providerId="LiveId" clId="{25BE2D22-C10C-457D-82F3-1AE0124C2F97}" dt="2023-01-31T22:37:25.219" v="2572" actId="1036"/>
          <ac:spMkLst>
            <pc:docMk/>
            <pc:sldMk cId="513409896" sldId="276"/>
            <ac:spMk id="6" creationId="{E12D722D-251E-384A-0C17-EB6F1C1E1F3D}"/>
          </ac:spMkLst>
        </pc:spChg>
        <pc:spChg chg="add mod">
          <ac:chgData name="Roberto Gallardo" userId="49a044883f185952" providerId="LiveId" clId="{25BE2D22-C10C-457D-82F3-1AE0124C2F97}" dt="2023-01-31T22:37:25.219" v="2572" actId="1036"/>
          <ac:spMkLst>
            <pc:docMk/>
            <pc:sldMk cId="513409896" sldId="276"/>
            <ac:spMk id="7" creationId="{D035BB93-887B-2D72-45F2-953572FA90E9}"/>
          </ac:spMkLst>
        </pc:spChg>
        <pc:spChg chg="del">
          <ac:chgData name="Roberto Gallardo" userId="49a044883f185952" providerId="LiveId" clId="{25BE2D22-C10C-457D-82F3-1AE0124C2F97}" dt="2023-01-14T15:58:53.295" v="2331" actId="478"/>
          <ac:spMkLst>
            <pc:docMk/>
            <pc:sldMk cId="513409896" sldId="276"/>
            <ac:spMk id="8" creationId="{40AF43CC-DD34-B66D-2100-C70E6AB3ED53}"/>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spChg chg="del">
          <ac:chgData name="Roberto Gallardo" userId="49a044883f185952" providerId="LiveId" clId="{25BE2D22-C10C-457D-82F3-1AE0124C2F97}" dt="2023-01-14T15:58:53.295" v="2331" actId="478"/>
          <ac:spMkLst>
            <pc:docMk/>
            <pc:sldMk cId="513409896" sldId="276"/>
            <ac:spMk id="26" creationId="{CCDA5E37-63CE-CEAA-0EAC-3BD8E75B5BA0}"/>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del mod">
        <pc:chgData name="Roberto Gallardo" userId="49a044883f185952" providerId="LiveId" clId="{25BE2D22-C10C-457D-82F3-1AE0124C2F97}" dt="2023-01-15T16:05:18.317" v="2334" actId="47"/>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5T18:19:49.128" v="2525" actId="20577"/>
        <pc:sldMkLst>
          <pc:docMk/>
          <pc:sldMk cId="349244952" sldId="278"/>
        </pc:sldMkLst>
        <pc:spChg chg="mod">
          <ac:chgData name="Roberto Gallardo" userId="49a044883f185952" providerId="LiveId" clId="{25BE2D22-C10C-457D-82F3-1AE0124C2F97}" dt="2023-01-15T18:19:49.128" v="2525" actId="20577"/>
          <ac:spMkLst>
            <pc:docMk/>
            <pc:sldMk cId="349244952" sldId="278"/>
            <ac:spMk id="2" creationId="{C03B1400-5F72-D252-1DBE-EDCD6E63B07C}"/>
          </ac:spMkLst>
        </pc:spChg>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5T16:11:23.721" v="2460" actId="20577"/>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5T16:11:23.721" v="2460" actId="20577"/>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5T16:11:36.247" v="2507" actId="20577"/>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5T16:11:36.247" v="2507" actId="20577"/>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addSp delSp modSp add mod">
        <pc:chgData name="Roberto Gallardo" userId="49a044883f185952" providerId="LiveId" clId="{25BE2D22-C10C-457D-82F3-1AE0124C2F97}" dt="2023-01-18T00:29:50.203" v="2553"/>
        <pc:sldMkLst>
          <pc:docMk/>
          <pc:sldMk cId="3324519687" sldId="293"/>
        </pc:sldMkLst>
        <pc:spChg chg="del">
          <ac:chgData name="Roberto Gallardo" userId="49a044883f185952" providerId="LiveId" clId="{25BE2D22-C10C-457D-82F3-1AE0124C2F97}" dt="2023-01-18T00:29:49.803" v="2552" actId="478"/>
          <ac:spMkLst>
            <pc:docMk/>
            <pc:sldMk cId="3324519687" sldId="293"/>
            <ac:spMk id="3" creationId="{AF651823-818E-912D-E331-CDEB914505A8}"/>
          </ac:spMkLst>
        </pc:spChg>
        <pc:spChg chg="add mod">
          <ac:chgData name="Roberto Gallardo" userId="49a044883f185952" providerId="LiveId" clId="{25BE2D22-C10C-457D-82F3-1AE0124C2F97}" dt="2023-01-18T00:29:50.203" v="2553"/>
          <ac:spMkLst>
            <pc:docMk/>
            <pc:sldMk cId="3324519687" sldId="293"/>
            <ac:spMk id="5" creationId="{2EEDA076-9AE6-AE18-C629-CDC0D18F8E77}"/>
          </ac:spMkLst>
        </pc:spChg>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sldChg chg="modSp add del mod">
        <pc:chgData name="Roberto Gallardo" userId="49a044883f185952" providerId="LiveId" clId="{25BE2D22-C10C-457D-82F3-1AE0124C2F97}" dt="2023-01-15T16:50:26.041" v="2520" actId="47"/>
        <pc:sldMkLst>
          <pc:docMk/>
          <pc:sldMk cId="1248468008" sldId="299"/>
        </pc:sldMkLst>
        <pc:spChg chg="mod">
          <ac:chgData name="Roberto Gallardo" userId="49a044883f185952" providerId="LiveId" clId="{25BE2D22-C10C-457D-82F3-1AE0124C2F97}" dt="2023-01-15T16:36:29.935" v="2518" actId="113"/>
          <ac:spMkLst>
            <pc:docMk/>
            <pc:sldMk cId="1248468008" sldId="299"/>
            <ac:spMk id="5" creationId="{6AE302AC-8931-4144-BE52-DD1A8BA82462}"/>
          </ac:spMkLst>
        </pc:spChg>
      </pc:sldChg>
      <pc:sldChg chg="addSp delSp modSp add mod">
        <pc:chgData name="Roberto Gallardo" userId="49a044883f185952" providerId="LiveId" clId="{25BE2D22-C10C-457D-82F3-1AE0124C2F97}" dt="2023-01-15T16:35:01.407" v="2517" actId="1076"/>
        <pc:sldMkLst>
          <pc:docMk/>
          <pc:sldMk cId="1951376777" sldId="300"/>
        </pc:sldMkLst>
        <pc:spChg chg="mod">
          <ac:chgData name="Roberto Gallardo" userId="49a044883f185952" providerId="LiveId" clId="{25BE2D22-C10C-457D-82F3-1AE0124C2F97}" dt="2023-01-15T16:14:04.015" v="2509"/>
          <ac:spMkLst>
            <pc:docMk/>
            <pc:sldMk cId="1951376777" sldId="300"/>
            <ac:spMk id="7" creationId="{51811D46-3545-CBB8-9C35-BAFF095496AA}"/>
          </ac:spMkLst>
        </pc:spChg>
        <pc:picChg chg="add mod">
          <ac:chgData name="Roberto Gallardo" userId="49a044883f185952" providerId="LiveId" clId="{25BE2D22-C10C-457D-82F3-1AE0124C2F97}" dt="2023-01-15T16:35:01.407" v="2517" actId="1076"/>
          <ac:picMkLst>
            <pc:docMk/>
            <pc:sldMk cId="1951376777" sldId="300"/>
            <ac:picMk id="5" creationId="{F6A4C4C3-9DF9-FBBC-8DBA-CD7024B4EB9F}"/>
          </ac:picMkLst>
        </pc:picChg>
        <pc:picChg chg="del">
          <ac:chgData name="Roberto Gallardo" userId="49a044883f185952" providerId="LiveId" clId="{25BE2D22-C10C-457D-82F3-1AE0124C2F97}" dt="2023-01-15T16:09:00.669" v="2390" actId="478"/>
          <ac:picMkLst>
            <pc:docMk/>
            <pc:sldMk cId="1951376777" sldId="300"/>
            <ac:picMk id="8" creationId="{E81B59CA-9234-ED7C-9930-EBA794BB9820}"/>
          </ac:picMkLst>
        </pc:picChg>
      </pc:sldChg>
      <pc:sldChg chg="add del">
        <pc:chgData name="Roberto Gallardo" userId="49a044883f185952" providerId="LiveId" clId="{25BE2D22-C10C-457D-82F3-1AE0124C2F97}" dt="2023-01-17T23:32:02.573" v="2527" actId="47"/>
        <pc:sldMkLst>
          <pc:docMk/>
          <pc:sldMk cId="230398305" sldId="301"/>
        </pc:sldMkLst>
      </pc:sldChg>
      <pc:sldChg chg="add">
        <pc:chgData name="Roberto Gallardo" userId="49a044883f185952" providerId="LiveId" clId="{25BE2D22-C10C-457D-82F3-1AE0124C2F97}" dt="2023-01-17T23:32:00.789" v="2526"/>
        <pc:sldMkLst>
          <pc:docMk/>
          <pc:sldMk cId="1515423683" sldId="302"/>
        </pc:sldMkLst>
      </pc:sldChg>
      <pc:sldChg chg="add mod">
        <pc:chgData name="Roberto Gallardo" userId="49a044883f185952" providerId="LiveId" clId="{25BE2D22-C10C-457D-82F3-1AE0124C2F97}" dt="2023-01-18T00:20:27.382" v="2537" actId="27918"/>
        <pc:sldMkLst>
          <pc:docMk/>
          <pc:sldMk cId="2841628872" sldId="303"/>
        </pc:sldMkLst>
      </pc:sldChg>
      <pc:sldChg chg="add del">
        <pc:chgData name="Roberto Gallardo" userId="49a044883f185952" providerId="LiveId" clId="{25BE2D22-C10C-457D-82F3-1AE0124C2F97}" dt="2023-01-17T23:36:23.267" v="2530" actId="47"/>
        <pc:sldMkLst>
          <pc:docMk/>
          <pc:sldMk cId="3700009113" sldId="303"/>
        </pc:sldMkLst>
      </pc:sldChg>
      <pc:sldChg chg="add del">
        <pc:chgData name="Roberto Gallardo" userId="49a044883f185952" providerId="LiveId" clId="{25BE2D22-C10C-457D-82F3-1AE0124C2F97}" dt="2023-01-17T23:36:23.267" v="2530" actId="47"/>
        <pc:sldMkLst>
          <pc:docMk/>
          <pc:sldMk cId="2841628872" sldId="304"/>
        </pc:sldMkLst>
      </pc:sldChg>
      <pc:sldChg chg="add mod">
        <pc:chgData name="Roberto Gallardo" userId="49a044883f185952" providerId="LiveId" clId="{25BE2D22-C10C-457D-82F3-1AE0124C2F97}" dt="2023-01-18T00:21:01.851" v="2544" actId="27918"/>
        <pc:sldMkLst>
          <pc:docMk/>
          <pc:sldMk cId="3084076302" sldId="304"/>
        </pc:sldMkLst>
      </pc:sldChg>
      <pc:sldChg chg="add mod">
        <pc:chgData name="Roberto Gallardo" userId="49a044883f185952" providerId="LiveId" clId="{25BE2D22-C10C-457D-82F3-1AE0124C2F97}" dt="2023-01-18T00:21:36.858" v="2551" actId="27918"/>
        <pc:sldMkLst>
          <pc:docMk/>
          <pc:sldMk cId="473712435" sldId="30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Piedmont Triad</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formatCode="#,##0.00;[Red]#,##0.00">
                  <c:v>1</c:v>
                </c:pt>
                <c:pt idx="1">
                  <c:v>1.020215072462368</c:v>
                </c:pt>
                <c:pt idx="2">
                  <c:v>1.035442595683254</c:v>
                </c:pt>
                <c:pt idx="3">
                  <c:v>1.0532262882086929</c:v>
                </c:pt>
                <c:pt idx="4">
                  <c:v>1.0725428772241692</c:v>
                </c:pt>
                <c:pt idx="5">
                  <c:v>1.0928561709952476</c:v>
                </c:pt>
                <c:pt idx="6">
                  <c:v>1.1126236119195583</c:v>
                </c:pt>
                <c:pt idx="7">
                  <c:v>1.1319426162131176</c:v>
                </c:pt>
                <c:pt idx="8">
                  <c:v>1.1508461926763938</c:v>
                </c:pt>
                <c:pt idx="9">
                  <c:v>1.167645256836646</c:v>
                </c:pt>
                <c:pt idx="10">
                  <c:v>1.1832463430677091</c:v>
                </c:pt>
                <c:pt idx="11">
                  <c:v>1.1968910540515083</c:v>
                </c:pt>
                <c:pt idx="12">
                  <c:v>1.2077445086640051</c:v>
                </c:pt>
                <c:pt idx="13">
                  <c:v>1.2165047222711987</c:v>
                </c:pt>
                <c:pt idx="14">
                  <c:v>1.2253116312546646</c:v>
                </c:pt>
                <c:pt idx="15">
                  <c:v>1.2405705530906301</c:v>
                </c:pt>
                <c:pt idx="16">
                  <c:v>1.2611583834704809</c:v>
                </c:pt>
                <c:pt idx="17">
                  <c:v>1.2808388743838022</c:v>
                </c:pt>
                <c:pt idx="18">
                  <c:v>1.300087030520259</c:v>
                </c:pt>
                <c:pt idx="19">
                  <c:v>1.3113647689826768</c:v>
                </c:pt>
                <c:pt idx="20">
                  <c:v>1.3229234847954219</c:v>
                </c:pt>
                <c:pt idx="21">
                  <c:v>1.3297804592731783</c:v>
                </c:pt>
                <c:pt idx="22">
                  <c:v>1.3359651813511548</c:v>
                </c:pt>
                <c:pt idx="23">
                  <c:v>1.3427730451745561</c:v>
                </c:pt>
                <c:pt idx="24">
                  <c:v>1.3507104540481267</c:v>
                </c:pt>
                <c:pt idx="25">
                  <c:v>1.3580690012744618</c:v>
                </c:pt>
                <c:pt idx="26">
                  <c:v>1.370272596335379</c:v>
                </c:pt>
                <c:pt idx="27">
                  <c:v>1.3799119711648</c:v>
                </c:pt>
                <c:pt idx="28">
                  <c:v>1.3894177006069595</c:v>
                </c:pt>
                <c:pt idx="29">
                  <c:v>1.3999982287960724</c:v>
                </c:pt>
                <c:pt idx="30">
                  <c:v>1.4045961131734903</c:v>
                </c:pt>
                <c:pt idx="31">
                  <c:v>1.4119933048491538</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50.902886010641154</c:v>
                </c:pt>
                <c:pt idx="1">
                  <c:v>22.494709847391359</c:v>
                </c:pt>
                <c:pt idx="2">
                  <c:v>15.080862533692722</c:v>
                </c:pt>
                <c:pt idx="3">
                  <c:v>13.453938702028628</c:v>
                </c:pt>
                <c:pt idx="4">
                  <c:v>29.179238543118935</c:v>
                </c:pt>
                <c:pt idx="5">
                  <c:v>3.0717253698885481</c:v>
                </c:pt>
                <c:pt idx="6">
                  <c:v>78.012706470915333</c:v>
                </c:pt>
                <c:pt idx="7">
                  <c:v>64.81873546093729</c:v>
                </c:pt>
                <c:pt idx="8">
                  <c:v>71.132234500842856</c:v>
                </c:pt>
                <c:pt idx="9">
                  <c:v>58.302255372047597</c:v>
                </c:pt>
                <c:pt idx="10">
                  <c:v>3.1315974665728357</c:v>
                </c:pt>
                <c:pt idx="11">
                  <c:v>49.855613569407581</c:v>
                </c:pt>
                <c:pt idx="12">
                  <c:v>56.3</c:v>
                </c:pt>
                <c:pt idx="13">
                  <c:v>50.9</c:v>
                </c:pt>
                <c:pt idx="14">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5.2077175256623853</c:v>
                </c:pt>
                <c:pt idx="1">
                  <c:v>2.7410698019871353</c:v>
                </c:pt>
                <c:pt idx="2">
                  <c:v>0.17744833782569633</c:v>
                </c:pt>
                <c:pt idx="3">
                  <c:v>2.5928690612101519</c:v>
                </c:pt>
                <c:pt idx="4">
                  <c:v>4.2907380818611234</c:v>
                </c:pt>
                <c:pt idx="5">
                  <c:v>0.190283872470972</c:v>
                </c:pt>
                <c:pt idx="6">
                  <c:v>19.206760034657368</c:v>
                </c:pt>
                <c:pt idx="7">
                  <c:v>15.114874931388691</c:v>
                </c:pt>
                <c:pt idx="8">
                  <c:v>9.1917962165199469</c:v>
                </c:pt>
                <c:pt idx="9">
                  <c:v>6.9904694252057062</c:v>
                </c:pt>
                <c:pt idx="10">
                  <c:v>0.24190710767065449</c:v>
                </c:pt>
                <c:pt idx="11">
                  <c:v>8.9863780882653206</c:v>
                </c:pt>
                <c:pt idx="12">
                  <c:v>11.8</c:v>
                </c:pt>
                <c:pt idx="13">
                  <c:v>18</c:v>
                </c:pt>
                <c:pt idx="14">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87.202021016420758</c:v>
                </c:pt>
                <c:pt idx="1">
                  <c:v>77.203996692778759</c:v>
                </c:pt>
                <c:pt idx="2">
                  <c:v>82.17479218153224</c:v>
                </c:pt>
                <c:pt idx="3">
                  <c:v>64.796478440326695</c:v>
                </c:pt>
                <c:pt idx="4">
                  <c:v>64.634924598715344</c:v>
                </c:pt>
                <c:pt idx="5">
                  <c:v>77.103801794105081</c:v>
                </c:pt>
                <c:pt idx="6">
                  <c:v>22.784634739764901</c:v>
                </c:pt>
                <c:pt idx="7">
                  <c:v>22.602002143286548</c:v>
                </c:pt>
                <c:pt idx="8">
                  <c:v>76.098052069675973</c:v>
                </c:pt>
                <c:pt idx="9">
                  <c:v>60.950385091255676</c:v>
                </c:pt>
                <c:pt idx="10">
                  <c:v>95.802534318901806</c:v>
                </c:pt>
                <c:pt idx="11">
                  <c:v>36.207449756439054</c:v>
                </c:pt>
                <c:pt idx="12">
                  <c:v>41.6</c:v>
                </c:pt>
                <c:pt idx="13">
                  <c:v>40.700000000000003</c:v>
                </c:pt>
                <c:pt idx="14">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15.442831954428318</c:v>
                </c:pt>
                <c:pt idx="1">
                  <c:v>18.944779726654701</c:v>
                </c:pt>
                <c:pt idx="2">
                  <c:v>19.448094612352168</c:v>
                </c:pt>
                <c:pt idx="3">
                  <c:v>16.832586231827637</c:v>
                </c:pt>
                <c:pt idx="4">
                  <c:v>17.574864997545408</c:v>
                </c:pt>
                <c:pt idx="5">
                  <c:v>18.69069069069069</c:v>
                </c:pt>
                <c:pt idx="6">
                  <c:v>11.206675056122458</c:v>
                </c:pt>
                <c:pt idx="7">
                  <c:v>11.449431566905091</c:v>
                </c:pt>
                <c:pt idx="8">
                  <c:v>16.598069826852115</c:v>
                </c:pt>
                <c:pt idx="9">
                  <c:v>15.204713485204294</c:v>
                </c:pt>
                <c:pt idx="10">
                  <c:v>19.643102894628196</c:v>
                </c:pt>
                <c:pt idx="11">
                  <c:v>12.946778911321966</c:v>
                </c:pt>
                <c:pt idx="12">
                  <c:v>13.6</c:v>
                </c:pt>
                <c:pt idx="13">
                  <c:v>13.2</c:v>
                </c:pt>
                <c:pt idx="14">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7.6804915514592942</c:v>
                </c:pt>
                <c:pt idx="1">
                  <c:v>6.0611997720148194</c:v>
                </c:pt>
                <c:pt idx="2">
                  <c:v>9.248490889959573</c:v>
                </c:pt>
                <c:pt idx="3">
                  <c:v>6.7890998535223721</c:v>
                </c:pt>
                <c:pt idx="4">
                  <c:v>7.6678696462160145</c:v>
                </c:pt>
                <c:pt idx="5">
                  <c:v>5.8301521987011062</c:v>
                </c:pt>
                <c:pt idx="6">
                  <c:v>6.5513050245727982</c:v>
                </c:pt>
                <c:pt idx="7">
                  <c:v>6.7977124071093451</c:v>
                </c:pt>
                <c:pt idx="8">
                  <c:v>8.5864783168227934</c:v>
                </c:pt>
                <c:pt idx="9">
                  <c:v>7.1715735730227159</c:v>
                </c:pt>
                <c:pt idx="10">
                  <c:v>6.6432432432432433</c:v>
                </c:pt>
                <c:pt idx="11">
                  <c:v>6.9994818021093694</c:v>
                </c:pt>
                <c:pt idx="12">
                  <c:v>6.9</c:v>
                </c:pt>
                <c:pt idx="13">
                  <c:v>8</c:v>
                </c:pt>
                <c:pt idx="14">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16.498198827893972</c:v>
                </c:pt>
                <c:pt idx="1">
                  <c:v>17.126499531068461</c:v>
                </c:pt>
                <c:pt idx="2">
                  <c:v>9.5675966627792235</c:v>
                </c:pt>
                <c:pt idx="3">
                  <c:v>28.498509400129819</c:v>
                </c:pt>
                <c:pt idx="4">
                  <c:v>22.096218735868092</c:v>
                </c:pt>
                <c:pt idx="5">
                  <c:v>37.503379552740334</c:v>
                </c:pt>
                <c:pt idx="6">
                  <c:v>51.265562367695438</c:v>
                </c:pt>
                <c:pt idx="7">
                  <c:v>44.43130670576457</c:v>
                </c:pt>
                <c:pt idx="8">
                  <c:v>16.50800366687821</c:v>
                </c:pt>
                <c:pt idx="9">
                  <c:v>21.292008428471092</c:v>
                </c:pt>
                <c:pt idx="10">
                  <c:v>39.315339038841344</c:v>
                </c:pt>
                <c:pt idx="11">
                  <c:v>37.866241097023966</c:v>
                </c:pt>
                <c:pt idx="12">
                  <c:v>37.5</c:v>
                </c:pt>
                <c:pt idx="13">
                  <c:v>37.9</c:v>
                </c:pt>
                <c:pt idx="14">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15.416531077123333</c:v>
                </c:pt>
                <c:pt idx="1">
                  <c:v>16.584154904603164</c:v>
                </c:pt>
                <c:pt idx="2">
                  <c:v>14.765406242174517</c:v>
                </c:pt>
                <c:pt idx="3">
                  <c:v>18.224702230887313</c:v>
                </c:pt>
                <c:pt idx="4">
                  <c:v>15.113986791894899</c:v>
                </c:pt>
                <c:pt idx="5">
                  <c:v>15.579040424334966</c:v>
                </c:pt>
                <c:pt idx="6">
                  <c:v>14.530919441984228</c:v>
                </c:pt>
                <c:pt idx="7">
                  <c:v>15.645377569668984</c:v>
                </c:pt>
                <c:pt idx="8">
                  <c:v>12.565581131540387</c:v>
                </c:pt>
                <c:pt idx="9">
                  <c:v>14.518401657112578</c:v>
                </c:pt>
                <c:pt idx="10">
                  <c:v>17.114031840059237</c:v>
                </c:pt>
                <c:pt idx="11">
                  <c:v>14.35745955880123</c:v>
                </c:pt>
                <c:pt idx="12">
                  <c:v>15.1</c:v>
                </c:pt>
                <c:pt idx="13">
                  <c:v>13.7</c:v>
                </c:pt>
                <c:pt idx="14">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45.390788320183425</c:v>
                </c:pt>
                <c:pt idx="1">
                  <c:v>47.557948466944026</c:v>
                </c:pt>
                <c:pt idx="2">
                  <c:v>48.202588272887041</c:v>
                </c:pt>
                <c:pt idx="3">
                  <c:v>47.405473817433951</c:v>
                </c:pt>
                <c:pt idx="4">
                  <c:v>43.476155460300944</c:v>
                </c:pt>
                <c:pt idx="5">
                  <c:v>51.294995610184365</c:v>
                </c:pt>
                <c:pt idx="6">
                  <c:v>37.556416446407951</c:v>
                </c:pt>
                <c:pt idx="7">
                  <c:v>39.508532966923553</c:v>
                </c:pt>
                <c:pt idx="8">
                  <c:v>51.161223114161402</c:v>
                </c:pt>
                <c:pt idx="9">
                  <c:v>43.91813214701579</c:v>
                </c:pt>
                <c:pt idx="10">
                  <c:v>52.43746364165213</c:v>
                </c:pt>
                <c:pt idx="11">
                  <c:v>40.225603595180289</c:v>
                </c:pt>
                <c:pt idx="12">
                  <c:v>41.5</c:v>
                </c:pt>
                <c:pt idx="13">
                  <c:v>39.700000000000003</c:v>
                </c:pt>
                <c:pt idx="14">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29.064225504079843</c:v>
                </c:pt>
                <c:pt idx="1">
                  <c:v>28.354714540432823</c:v>
                </c:pt>
                <c:pt idx="2">
                  <c:v>26.03105394898013</c:v>
                </c:pt>
                <c:pt idx="3">
                  <c:v>28.605982703158784</c:v>
                </c:pt>
                <c:pt idx="4">
                  <c:v>30.974442670875408</c:v>
                </c:pt>
                <c:pt idx="5">
                  <c:v>23.640177787532924</c:v>
                </c:pt>
                <c:pt idx="6">
                  <c:v>30.953226591349324</c:v>
                </c:pt>
                <c:pt idx="7">
                  <c:v>28.740471022429332</c:v>
                </c:pt>
                <c:pt idx="8">
                  <c:v>28.173117225320183</c:v>
                </c:pt>
                <c:pt idx="9">
                  <c:v>30.802930463081847</c:v>
                </c:pt>
                <c:pt idx="10">
                  <c:v>25.831623036649216</c:v>
                </c:pt>
                <c:pt idx="11">
                  <c:v>30.869905445552021</c:v>
                </c:pt>
                <c:pt idx="12">
                  <c:v>29.8</c:v>
                </c:pt>
                <c:pt idx="13">
                  <c:v>30</c:v>
                </c:pt>
                <c:pt idx="14">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7.29651358823926</c:v>
                </c:pt>
                <c:pt idx="1">
                  <c:v>8.4047127923644371</c:v>
                </c:pt>
                <c:pt idx="2">
                  <c:v>5.3150130478777227</c:v>
                </c:pt>
                <c:pt idx="3">
                  <c:v>6.4757686020144494</c:v>
                </c:pt>
                <c:pt idx="4">
                  <c:v>11.352834621661854</c:v>
                </c:pt>
                <c:pt idx="5">
                  <c:v>12.587796312554872</c:v>
                </c:pt>
                <c:pt idx="6">
                  <c:v>13.768952586330283</c:v>
                </c:pt>
                <c:pt idx="7">
                  <c:v>13.952114489781017</c:v>
                </c:pt>
                <c:pt idx="8">
                  <c:v>7.2798578344261289</c:v>
                </c:pt>
                <c:pt idx="9">
                  <c:v>8.1673782581434935</c:v>
                </c:pt>
                <c:pt idx="10">
                  <c:v>4.840023269342641</c:v>
                </c:pt>
                <c:pt idx="11">
                  <c:v>12.486616096876837</c:v>
                </c:pt>
                <c:pt idx="12">
                  <c:v>11.7</c:v>
                </c:pt>
                <c:pt idx="13">
                  <c:v>12</c:v>
                </c:pt>
                <c:pt idx="14">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B$2:$B$4</c:f>
              <c:numCache>
                <c:formatCode>#,##0.0</c:formatCode>
                <c:ptCount val="3"/>
                <c:pt idx="0">
                  <c:v>62.497397582996193</c:v>
                </c:pt>
                <c:pt idx="1">
                  <c:v>62.061419373856829</c:v>
                </c:pt>
                <c:pt idx="2">
                  <c:v>59.446533948645595</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C$2:$C$4</c:f>
              <c:numCache>
                <c:formatCode>#,##0.0</c:formatCode>
                <c:ptCount val="3"/>
                <c:pt idx="0">
                  <c:v>21.424365543710515</c:v>
                </c:pt>
                <c:pt idx="1">
                  <c:v>20.840642568328686</c:v>
                </c:pt>
                <c:pt idx="2">
                  <c:v>12.19083883905229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D$2:$D$4</c:f>
              <c:numCache>
                <c:formatCode>#,##0.0</c:formatCode>
                <c:ptCount val="3"/>
                <c:pt idx="0">
                  <c:v>2.6430175926273018</c:v>
                </c:pt>
                <c:pt idx="1">
                  <c:v>3.0106138484127842</c:v>
                </c:pt>
                <c:pt idx="2">
                  <c:v>5.627316682874139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E$2:$E$4</c:f>
              <c:numCache>
                <c:formatCode>#,##0.0</c:formatCode>
                <c:ptCount val="3"/>
                <c:pt idx="0">
                  <c:v>10.160528038339873</c:v>
                </c:pt>
                <c:pt idx="1">
                  <c:v>9.8073487256031662</c:v>
                </c:pt>
                <c:pt idx="2">
                  <c:v>18.441695441790866</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F$2:$F$4</c:f>
              <c:numCache>
                <c:formatCode>#,##0.0</c:formatCode>
                <c:ptCount val="3"/>
                <c:pt idx="0">
                  <c:v>3.2746912423261136</c:v>
                </c:pt>
                <c:pt idx="1">
                  <c:v>4.2799754837985375</c:v>
                </c:pt>
                <c:pt idx="2">
                  <c:v>4.2936150876370931</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5.2045808914457767</c:v>
                </c:pt>
                <c:pt idx="1">
                  <c:v>5.6341774100981254</c:v>
                </c:pt>
                <c:pt idx="2">
                  <c:v>1.6708531443437695</c:v>
                </c:pt>
                <c:pt idx="3">
                  <c:v>3.7589518497739345</c:v>
                </c:pt>
                <c:pt idx="4">
                  <c:v>5.9908860054962254</c:v>
                </c:pt>
                <c:pt idx="5">
                  <c:v>8.3619790660847411</c:v>
                </c:pt>
                <c:pt idx="6">
                  <c:v>10.804988894329497</c:v>
                </c:pt>
                <c:pt idx="7">
                  <c:v>8.6703820191653325</c:v>
                </c:pt>
                <c:pt idx="8">
                  <c:v>5.1806407634628497</c:v>
                </c:pt>
                <c:pt idx="9">
                  <c:v>5.5171962238544783</c:v>
                </c:pt>
                <c:pt idx="10">
                  <c:v>2.4489795918367347</c:v>
                </c:pt>
                <c:pt idx="11">
                  <c:v>8.3388007211041177</c:v>
                </c:pt>
                <c:pt idx="12">
                  <c:v>8</c:v>
                </c:pt>
                <c:pt idx="13">
                  <c:v>8.1999999999999993</c:v>
                </c:pt>
                <c:pt idx="14">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12.405485069844932</c:v>
                </c:pt>
                <c:pt idx="1">
                  <c:v>13.25894322284214</c:v>
                </c:pt>
                <c:pt idx="2">
                  <c:v>10.242395437262356</c:v>
                </c:pt>
                <c:pt idx="3">
                  <c:v>6.245944192083063</c:v>
                </c:pt>
                <c:pt idx="4">
                  <c:v>7.0265612015635099</c:v>
                </c:pt>
                <c:pt idx="5">
                  <c:v>5.1858407079646023</c:v>
                </c:pt>
                <c:pt idx="6">
                  <c:v>5.6669027876161504</c:v>
                </c:pt>
                <c:pt idx="7">
                  <c:v>5.7661170782878388</c:v>
                </c:pt>
                <c:pt idx="8">
                  <c:v>0.90427878253198057</c:v>
                </c:pt>
                <c:pt idx="9">
                  <c:v>7.6552303068049499</c:v>
                </c:pt>
                <c:pt idx="10">
                  <c:v>9.7055359246171964</c:v>
                </c:pt>
                <c:pt idx="11">
                  <c:v>6.9327675374618742</c:v>
                </c:pt>
                <c:pt idx="12">
                  <c:v>6.6</c:v>
                </c:pt>
                <c:pt idx="13">
                  <c:v>5.7</c:v>
                </c:pt>
                <c:pt idx="14">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21.158972919882139</c:v>
                </c:pt>
                <c:pt idx="1">
                  <c:v>25.688983351044985</c:v>
                </c:pt>
                <c:pt idx="2">
                  <c:v>25.186090434396181</c:v>
                </c:pt>
                <c:pt idx="3">
                  <c:v>25.921184459534675</c:v>
                </c:pt>
                <c:pt idx="4">
                  <c:v>18.334953028830579</c:v>
                </c:pt>
                <c:pt idx="5">
                  <c:v>20.96900745390349</c:v>
                </c:pt>
                <c:pt idx="6">
                  <c:v>16.513968724114562</c:v>
                </c:pt>
                <c:pt idx="7">
                  <c:v>11.843269503664503</c:v>
                </c:pt>
                <c:pt idx="8">
                  <c:v>9.6244401056621101</c:v>
                </c:pt>
                <c:pt idx="9">
                  <c:v>17.191909689557853</c:v>
                </c:pt>
                <c:pt idx="10">
                  <c:v>25.387840670859539</c:v>
                </c:pt>
                <c:pt idx="11">
                  <c:v>16.772669453025625</c:v>
                </c:pt>
                <c:pt idx="12">
                  <c:v>17.2</c:v>
                </c:pt>
                <c:pt idx="13">
                  <c:v>15.9</c:v>
                </c:pt>
                <c:pt idx="14">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4.1823408043395061</c:v>
                </c:pt>
                <c:pt idx="1">
                  <c:v>3.7802220164788052</c:v>
                </c:pt>
                <c:pt idx="2">
                  <c:v>3.6668041962349056</c:v>
                </c:pt>
                <c:pt idx="3">
                  <c:v>4.9563081185645617</c:v>
                </c:pt>
                <c:pt idx="4">
                  <c:v>5.8611176356320955</c:v>
                </c:pt>
                <c:pt idx="5">
                  <c:v>2.4690369298129324</c:v>
                </c:pt>
                <c:pt idx="6">
                  <c:v>5.1478621872625245</c:v>
                </c:pt>
                <c:pt idx="7">
                  <c:v>9.4454126307137418</c:v>
                </c:pt>
                <c:pt idx="8">
                  <c:v>8.557189420215856</c:v>
                </c:pt>
                <c:pt idx="9">
                  <c:v>6.6330087348793763</c:v>
                </c:pt>
                <c:pt idx="10">
                  <c:v>2.8616925532112303</c:v>
                </c:pt>
                <c:pt idx="11">
                  <c:v>7.18987403693286</c:v>
                </c:pt>
                <c:pt idx="12">
                  <c:v>5.8</c:v>
                </c:pt>
                <c:pt idx="13">
                  <c:v>6.8</c:v>
                </c:pt>
                <c:pt idx="14">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31.317013959134126</c:v>
                </c:pt>
                <c:pt idx="1">
                  <c:v>31.021221550187043</c:v>
                </c:pt>
                <c:pt idx="2">
                  <c:v>29.552111625925338</c:v>
                </c:pt>
                <c:pt idx="3">
                  <c:v>48.196487897484573</c:v>
                </c:pt>
                <c:pt idx="4">
                  <c:v>22.551428520185805</c:v>
                </c:pt>
                <c:pt idx="5">
                  <c:v>52.161984196663738</c:v>
                </c:pt>
                <c:pt idx="6">
                  <c:v>14.088606024751671</c:v>
                </c:pt>
                <c:pt idx="7">
                  <c:v>19.644741820499036</c:v>
                </c:pt>
                <c:pt idx="8">
                  <c:v>0</c:v>
                </c:pt>
                <c:pt idx="9">
                  <c:v>22.201654076971309</c:v>
                </c:pt>
                <c:pt idx="10">
                  <c:v>67.457824316463061</c:v>
                </c:pt>
                <c:pt idx="11">
                  <c:v>19.027009093513897</c:v>
                </c:pt>
                <c:pt idx="12">
                  <c:v>21.5</c:v>
                </c:pt>
                <c:pt idx="13">
                  <c:v>20.7</c:v>
                </c:pt>
                <c:pt idx="14">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Yadkin</c:v>
                </c:pt>
                <c:pt idx="1">
                  <c:v>Surry</c:v>
                </c:pt>
                <c:pt idx="2">
                  <c:v>Stokes</c:v>
                </c:pt>
                <c:pt idx="3">
                  <c:v>Rockingham</c:v>
                </c:pt>
                <c:pt idx="4">
                  <c:v>Randolph</c:v>
                </c:pt>
                <c:pt idx="5">
                  <c:v>Montgomery</c:v>
                </c:pt>
                <c:pt idx="6">
                  <c:v>Guilford</c:v>
                </c:pt>
                <c:pt idx="7">
                  <c:v>Forsyth</c:v>
                </c:pt>
                <c:pt idx="8">
                  <c:v>Davie</c:v>
                </c:pt>
                <c:pt idx="9">
                  <c:v>Davidson</c:v>
                </c:pt>
                <c:pt idx="10">
                  <c:v>Caswell</c:v>
                </c:pt>
                <c:pt idx="11">
                  <c:v>Alamance</c:v>
                </c:pt>
                <c:pt idx="12">
                  <c:v>Piedmont Triad</c:v>
                </c:pt>
                <c:pt idx="13">
                  <c:v>North Carolina</c:v>
                </c:pt>
                <c:pt idx="14">
                  <c:v>United States</c:v>
                </c:pt>
              </c:strCache>
            </c:strRef>
          </c:cat>
          <c:val>
            <c:numRef>
              <c:f>Sheet1!$B$2:$B$16</c:f>
              <c:numCache>
                <c:formatCode>0.0</c:formatCode>
                <c:ptCount val="15"/>
                <c:pt idx="0">
                  <c:v>55.344257873086519</c:v>
                </c:pt>
                <c:pt idx="1">
                  <c:v>69.468237597454802</c:v>
                </c:pt>
                <c:pt idx="2">
                  <c:v>77.717420248175955</c:v>
                </c:pt>
                <c:pt idx="3">
                  <c:v>85.680008437483522</c:v>
                </c:pt>
                <c:pt idx="4">
                  <c:v>46.604013845795144</c:v>
                </c:pt>
                <c:pt idx="5">
                  <c:v>100</c:v>
                </c:pt>
                <c:pt idx="6">
                  <c:v>16.751271457333424</c:v>
                </c:pt>
                <c:pt idx="7">
                  <c:v>16.986943332603168</c:v>
                </c:pt>
                <c:pt idx="8">
                  <c:v>22.158220479196029</c:v>
                </c:pt>
                <c:pt idx="9">
                  <c:v>20.947660705221988</c:v>
                </c:pt>
                <c:pt idx="10">
                  <c:v>79.139034322280395</c:v>
                </c:pt>
                <c:pt idx="11">
                  <c:v>22.863476647916634</c:v>
                </c:pt>
                <c:pt idx="12">
                  <c:v>30.8</c:v>
                </c:pt>
                <c:pt idx="13">
                  <c:v>29.7</c:v>
                </c:pt>
                <c:pt idx="14">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Piedmont Triad</c:v>
                </c:pt>
              </c:strCache>
            </c:strRef>
          </c:cat>
          <c:val>
            <c:numRef>
              <c:f>Sheet1!$B$2:$B$4</c:f>
              <c:numCache>
                <c:formatCode>0.00</c:formatCode>
                <c:ptCount val="3"/>
                <c:pt idx="0">
                  <c:v>3.9456284717007351</c:v>
                </c:pt>
                <c:pt idx="1">
                  <c:v>4.4296238962062287</c:v>
                </c:pt>
                <c:pt idx="2">
                  <c:v>2.8216946324999999</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Piedmont Triad</c:v>
                </c:pt>
              </c:strCache>
            </c:strRef>
          </c:cat>
          <c:val>
            <c:numRef>
              <c:f>Sheet1!$B$2:$B$4</c:f>
              <c:numCache>
                <c:formatCode>0.0</c:formatCode>
                <c:ptCount val="3"/>
                <c:pt idx="0">
                  <c:v>9.6993852410295798</c:v>
                </c:pt>
                <c:pt idx="1">
                  <c:v>10.285900434333007</c:v>
                </c:pt>
                <c:pt idx="2" formatCode="#,##0.0">
                  <c:v>7.13285618514595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Piedmont Triad</c:v>
                </c:pt>
              </c:strCache>
            </c:strRef>
          </c:cat>
          <c:val>
            <c:numRef>
              <c:f>Sheet1!$C$2:$C$4</c:f>
              <c:numCache>
                <c:formatCode>0.0</c:formatCode>
                <c:ptCount val="3"/>
                <c:pt idx="0">
                  <c:v>9.5092908053327836</c:v>
                </c:pt>
                <c:pt idx="1">
                  <c:v>10.158199176779275</c:v>
                </c:pt>
                <c:pt idx="2" formatCode="#,##0.0">
                  <c:v>7.0343796673766237</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Piedmont Triad</c:v>
                </c:pt>
              </c:strCache>
            </c:strRef>
          </c:cat>
          <c:val>
            <c:numRef>
              <c:f>Sheet1!$B$2:$B$4</c:f>
              <c:numCache>
                <c:formatCode>0.0</c:formatCode>
                <c:ptCount val="3"/>
                <c:pt idx="0">
                  <c:v>35.163543124718231</c:v>
                </c:pt>
                <c:pt idx="1">
                  <c:v>32.670704756158578</c:v>
                </c:pt>
                <c:pt idx="2">
                  <c:v>31.63166503609232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Piedmont Triad</c:v>
                </c:pt>
              </c:strCache>
            </c:strRef>
          </c:cat>
          <c:val>
            <c:numRef>
              <c:f>Sheet1!$C$2:$C$4</c:f>
              <c:numCache>
                <c:formatCode>0.0</c:formatCode>
                <c:ptCount val="3"/>
                <c:pt idx="0">
                  <c:v>9.5092908053327836</c:v>
                </c:pt>
                <c:pt idx="1">
                  <c:v>10.158199176779275</c:v>
                </c:pt>
                <c:pt idx="2">
                  <c:v>7.0343796673766237</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Piedmont Triad</c:v>
                </c:pt>
              </c:strCache>
            </c:strRef>
          </c:cat>
          <c:val>
            <c:numRef>
              <c:f>Sheet1!$B$2:$B$4</c:f>
              <c:numCache>
                <c:formatCode>0.0</c:formatCode>
                <c:ptCount val="3"/>
                <c:pt idx="0">
                  <c:v>3.4315339366940902</c:v>
                </c:pt>
                <c:pt idx="1">
                  <c:v>3.1906212529243381</c:v>
                </c:pt>
                <c:pt idx="2" formatCode="#,##0.0">
                  <c:v>2.0184757172497227</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B$2:$B$4</c:f>
              <c:numCache>
                <c:formatCode>#,##0.0</c:formatCode>
                <c:ptCount val="3"/>
                <c:pt idx="0">
                  <c:v>22.17045903464026</c:v>
                </c:pt>
                <c:pt idx="1">
                  <c:v>22.208065151207357</c:v>
                </c:pt>
                <c:pt idx="2">
                  <c:v>22.513903012548795</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C$2:$C$4</c:f>
              <c:numCache>
                <c:formatCode>#,##0.0</c:formatCode>
                <c:ptCount val="3"/>
                <c:pt idx="0">
                  <c:v>9.3954030213989324</c:v>
                </c:pt>
                <c:pt idx="1">
                  <c:v>9.4514220187822495</c:v>
                </c:pt>
                <c:pt idx="2">
                  <c:v>9.2013176864544484</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D$2:$D$4</c:f>
              <c:numCache>
                <c:formatCode>#,##0.0</c:formatCode>
                <c:ptCount val="3"/>
                <c:pt idx="0">
                  <c:v>37.790093802354718</c:v>
                </c:pt>
                <c:pt idx="1">
                  <c:v>39.051455663931264</c:v>
                </c:pt>
                <c:pt idx="2">
                  <c:v>39.255165420472913</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E$2:$E$4</c:f>
              <c:numCache>
                <c:formatCode>#,##0.0</c:formatCode>
                <c:ptCount val="3"/>
                <c:pt idx="0">
                  <c:v>13.624496457540955</c:v>
                </c:pt>
                <c:pt idx="1">
                  <c:v>13.023682210764095</c:v>
                </c:pt>
                <c:pt idx="2">
                  <c:v>12.989415579926018</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F$2:$F$4</c:f>
              <c:numCache>
                <c:formatCode>#,##0.0</c:formatCode>
                <c:ptCount val="3"/>
                <c:pt idx="0">
                  <c:v>17.019547684065135</c:v>
                </c:pt>
                <c:pt idx="1">
                  <c:v>16.265374955315039</c:v>
                </c:pt>
                <c:pt idx="2">
                  <c:v>16.040198300597826</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Piedmont Triad</c:v>
                </c:pt>
              </c:strCache>
            </c:strRef>
          </c:cat>
          <c:val>
            <c:numRef>
              <c:f>Sheet1!$B$2:$B$4</c:f>
              <c:numCache>
                <c:formatCode>0.0</c:formatCode>
                <c:ptCount val="3"/>
                <c:pt idx="0">
                  <c:v>28.70828963274613</c:v>
                </c:pt>
                <c:pt idx="1">
                  <c:v>28.399462765329204</c:v>
                </c:pt>
                <c:pt idx="2">
                  <c:v>29.720613419499898</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Piedmont Triad</c:v>
                </c:pt>
              </c:strCache>
            </c:strRef>
          </c:cat>
          <c:val>
            <c:numRef>
              <c:f>Sheet1!$C$2:$C$4</c:f>
              <c:numCache>
                <c:formatCode>0.0</c:formatCode>
                <c:ptCount val="3"/>
                <c:pt idx="0">
                  <c:v>41.555902088108759</c:v>
                </c:pt>
                <c:pt idx="1">
                  <c:v>42.725477774104526</c:v>
                </c:pt>
                <c:pt idx="2">
                  <c:v>43.643962457113297</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Piedmont Triad</c:v>
                </c:pt>
              </c:strCache>
            </c:strRef>
          </c:cat>
          <c:val>
            <c:numRef>
              <c:f>Sheet1!$D$2:$D$4</c:f>
              <c:numCache>
                <c:formatCode>0.0</c:formatCode>
                <c:ptCount val="3"/>
                <c:pt idx="0">
                  <c:v>29.735808279145072</c:v>
                </c:pt>
                <c:pt idx="1">
                  <c:v>28.875059460566249</c:v>
                </c:pt>
                <c:pt idx="2">
                  <c:v>26.635424123386798</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B$2:$B$4</c:f>
              <c:numCache>
                <c:formatCode>#,##0.0</c:formatCode>
                <c:ptCount val="3"/>
                <c:pt idx="0">
                  <c:v>12.398535677687288</c:v>
                </c:pt>
                <c:pt idx="1">
                  <c:v>10.962591300115909</c:v>
                </c:pt>
                <c:pt idx="2">
                  <c:v>11.12595967644428</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C$2:$C$4</c:f>
              <c:numCache>
                <c:formatCode>#,##0.0</c:formatCode>
                <c:ptCount val="3"/>
                <c:pt idx="0">
                  <c:v>28.125337090771801</c:v>
                </c:pt>
                <c:pt idx="1">
                  <c:v>25.231126134035375</c:v>
                </c:pt>
                <c:pt idx="2">
                  <c:v>26.487129599470212</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D$2:$D$4</c:f>
              <c:numCache>
                <c:formatCode>#,##0.0</c:formatCode>
                <c:ptCount val="3"/>
                <c:pt idx="0">
                  <c:v>31.506104713877352</c:v>
                </c:pt>
                <c:pt idx="1">
                  <c:v>30.789995477690791</c:v>
                </c:pt>
                <c:pt idx="2">
                  <c:v>28.716889020511388</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iedmont Triad</c:v>
                </c:pt>
                <c:pt idx="1">
                  <c:v>North Carolina</c:v>
                </c:pt>
                <c:pt idx="2">
                  <c:v>United States</c:v>
                </c:pt>
              </c:strCache>
            </c:strRef>
          </c:cat>
          <c:val>
            <c:numRef>
              <c:f>Sheet1!$E$2:$E$4</c:f>
              <c:numCache>
                <c:formatCode>#,##0.0</c:formatCode>
                <c:ptCount val="3"/>
                <c:pt idx="0">
                  <c:v>27.970022517663555</c:v>
                </c:pt>
                <c:pt idx="1">
                  <c:v>33.016287088157931</c:v>
                </c:pt>
                <c:pt idx="2">
                  <c:v>33.670021703574122</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Piedmont Tria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9.6004653246661373</c:v>
                </c:pt>
                <c:pt idx="1">
                  <c:v>9.169546239883605</c:v>
                </c:pt>
                <c:pt idx="2">
                  <c:v>8.661149031116387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Piedmont Tria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6.7</c:v>
                </c:pt>
                <c:pt idx="1">
                  <c:v>9.5</c:v>
                </c:pt>
                <c:pt idx="2">
                  <c:v>6.3</c:v>
                </c:pt>
                <c:pt idx="3">
                  <c:v>8.800000000000000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Piedmont Tria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5.7</c:v>
                </c:pt>
                <c:pt idx="1">
                  <c:v>8.8000000000000007</c:v>
                </c:pt>
                <c:pt idx="2">
                  <c:v>9.1</c:v>
                </c:pt>
                <c:pt idx="3">
                  <c:v>4.900000000000000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Piedmont Tria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36.191113058316233</c:v>
                </c:pt>
                <c:pt idx="1">
                  <c:v>39.596522449455904</c:v>
                </c:pt>
                <c:pt idx="2">
                  <c:v>25.702761696877669</c:v>
                </c:pt>
                <c:pt idx="3">
                  <c:v>16.859996862088803</c:v>
                </c:pt>
                <c:pt idx="4">
                  <c:v>11.471655825964092</c:v>
                </c:pt>
                <c:pt idx="5" formatCode="0.0">
                  <c:v>5.5224815600687078</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Piedmont Tria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10.7</c:v>
                </c:pt>
                <c:pt idx="1">
                  <c:v>13.5</c:v>
                </c:pt>
                <c:pt idx="2">
                  <c:v>15.9</c:v>
                </c:pt>
                <c:pt idx="3">
                  <c:v>9.300000000000000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9.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chart" Target="../charts/chart6.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chart" Target="../charts/chart7.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00986"/>
          </a:xfrm>
          <a:prstGeom prst="rect">
            <a:avLst/>
          </a:prstGeom>
          <a:noFill/>
        </p:spPr>
        <p:txBody>
          <a:bodyPr wrap="square" rtlCol="0">
            <a:spAutoFit/>
          </a:bodyPr>
          <a:lstStyle/>
          <a:p>
            <a:r>
              <a:rPr lang="en-US" sz="4000" dirty="0">
                <a:solidFill>
                  <a:schemeClr val="bg1"/>
                </a:solidFill>
              </a:rPr>
              <a:t>Piedmont Triad</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10" name="Straight Connector 9">
            <a:extLst>
              <a:ext uri="{FF2B5EF4-FFF2-40B4-BE49-F238E27FC236}">
                <a16:creationId xmlns:a16="http://schemas.microsoft.com/office/drawing/2014/main" id="{13EFA7DF-2E74-6B37-435B-B8B810175C14}"/>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86899652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68895387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10" name="Picture 9" descr="Map&#10;&#10;Description automatically generated">
            <a:extLst>
              <a:ext uri="{FF2B5EF4-FFF2-40B4-BE49-F238E27FC236}">
                <a16:creationId xmlns:a16="http://schemas.microsoft.com/office/drawing/2014/main" id="{1B762686-DC65-9B90-CF68-660E6B2284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08868" y="1036458"/>
            <a:ext cx="7574264" cy="5356195"/>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1EBB4A8-83F5-668F-D12B-3E393E0C0F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05255" y="1043641"/>
            <a:ext cx="7581490" cy="5361305"/>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Map&#10;&#10;Description automatically generated">
            <a:extLst>
              <a:ext uri="{FF2B5EF4-FFF2-40B4-BE49-F238E27FC236}">
                <a16:creationId xmlns:a16="http://schemas.microsoft.com/office/drawing/2014/main" id="{0388A1BD-F495-CF38-451C-2DAAAE2852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6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98331240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1702842D-CEA8-22EA-EB94-B22A16AB6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Map&#10;&#10;Description automatically generated">
            <a:extLst>
              <a:ext uri="{FF2B5EF4-FFF2-40B4-BE49-F238E27FC236}">
                <a16:creationId xmlns:a16="http://schemas.microsoft.com/office/drawing/2014/main" id="{03537EF1-AA28-12B3-A8B5-56716712F1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4400" y="1159858"/>
            <a:ext cx="7239000" cy="5119111"/>
          </a:xfrm>
          <a:prstGeom prst="rect">
            <a:avLst/>
          </a:prstGeom>
        </p:spPr>
      </p:pic>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402769960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descr="Map&#10;&#10;Description automatically generated">
            <a:extLst>
              <a:ext uri="{FF2B5EF4-FFF2-40B4-BE49-F238E27FC236}">
                <a16:creationId xmlns:a16="http://schemas.microsoft.com/office/drawing/2014/main" id="{EBF08018-13C5-6C09-EDA1-F15EE5AE8D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3406"/>
            <a:ext cx="7215228" cy="5102300"/>
          </a:xfrm>
          <a:prstGeom prst="rect">
            <a:avLst/>
          </a:prstGeom>
        </p:spPr>
      </p:pic>
      <p:sp>
        <p:nvSpPr>
          <p:cNvPr id="5" name="TextBox 4">
            <a:extLst>
              <a:ext uri="{FF2B5EF4-FFF2-40B4-BE49-F238E27FC236}">
                <a16:creationId xmlns:a16="http://schemas.microsoft.com/office/drawing/2014/main" id="{2EEDA076-9AE6-AE18-C629-CDC0D18F8E77}"/>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7025152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2A59AE6B-1B9E-0347-0422-DB514C7382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20052239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C96FB809-0226-5B71-8F0F-02E5A446EA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2893"/>
            <a:ext cx="7216678" cy="5103326"/>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94688200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9C745558-7BBD-B834-609E-ED244F71DA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8032" y="1166892"/>
            <a:ext cx="7205368" cy="5095327"/>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04701112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5EB75393-923B-5E8A-A45C-412BB00B7C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33108520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48B1E2F8-C8FE-C52D-F7C0-EE1A726B93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93765389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67EF222E-EF11-45B4-B78B-674626454C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91400281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46427D8E-669F-B7B7-9C33-5BCC9BE166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87349734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ACDBDE58-AC87-FD18-3F93-26923B735B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1790234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with low confidence">
            <a:extLst>
              <a:ext uri="{FF2B5EF4-FFF2-40B4-BE49-F238E27FC236}">
                <a16:creationId xmlns:a16="http://schemas.microsoft.com/office/drawing/2014/main" id="{DA143094-A860-740B-5598-937C43F514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74655230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with medium confidence">
            <a:extLst>
              <a:ext uri="{FF2B5EF4-FFF2-40B4-BE49-F238E27FC236}">
                <a16:creationId xmlns:a16="http://schemas.microsoft.com/office/drawing/2014/main" id="{AED980C4-47A1-C04E-25A3-CD82D8EDBD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5457858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with medium confidence">
            <a:extLst>
              <a:ext uri="{FF2B5EF4-FFF2-40B4-BE49-F238E27FC236}">
                <a16:creationId xmlns:a16="http://schemas.microsoft.com/office/drawing/2014/main" id="{F6A4C4C3-9DF9-FBBC-8DBA-CD7024B4EB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35475715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8" name="Picture 7" descr="Map&#10;&#10;Description automatically generated">
            <a:extLst>
              <a:ext uri="{FF2B5EF4-FFF2-40B4-BE49-F238E27FC236}">
                <a16:creationId xmlns:a16="http://schemas.microsoft.com/office/drawing/2014/main" id="{691D88B5-CF63-BD38-2195-191C7A96E1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823157602"/>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65741397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8" name="Picture 7" descr="Map&#10;&#10;Description automatically generated with medium confidence">
            <a:extLst>
              <a:ext uri="{FF2B5EF4-FFF2-40B4-BE49-F238E27FC236}">
                <a16:creationId xmlns:a16="http://schemas.microsoft.com/office/drawing/2014/main" id="{674086C1-C7A9-8285-AAEA-22247A0797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a:t>Avg. Microbusiness </a:t>
            </a:r>
            <a:r>
              <a:rPr lang="en-US" sz="3400" dirty="0"/>
              <a:t>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85071106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55453568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98657479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54679" y="3121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4.6</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7391" y="473927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96916" y="235494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44228" y="2366396"/>
            <a:ext cx="0" cy="77431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4228" y="4039968"/>
            <a:ext cx="0" cy="6925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12D722D-251E-384A-0C17-EB6F1C1E1F3D}"/>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7" name="TextBox 6">
            <a:extLst>
              <a:ext uri="{FF2B5EF4-FFF2-40B4-BE49-F238E27FC236}">
                <a16:creationId xmlns:a16="http://schemas.microsoft.com/office/drawing/2014/main" id="{D035BB93-887B-2D72-45F2-953572FA90E9}"/>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91386523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93592458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269953549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270187209"/>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316285420"/>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9087798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63897380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09789443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94</TotalTime>
  <Words>1475</Words>
  <Application>Microsoft Office PowerPoint</Application>
  <PresentationFormat>Widescreen</PresentationFormat>
  <Paragraphs>142</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23T00:58:28Z</dcterms:modified>
</cp:coreProperties>
</file>